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PAnET8RcXu.png"/><Relationship Id="rId3" Type="http://schemas.openxmlformats.org/officeDocument/2006/relationships/image" Target="../media/jl_3EnSF8Diru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pEzyZqJghc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